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56" r:id="rId2"/>
    <p:sldId id="257" r:id="rId3"/>
    <p:sldId id="270" r:id="rId4"/>
    <p:sldId id="272" r:id="rId5"/>
    <p:sldId id="269" r:id="rId6"/>
    <p:sldId id="259" r:id="rId7"/>
    <p:sldId id="271" r:id="rId8"/>
    <p:sldId id="283" r:id="rId9"/>
    <p:sldId id="280" r:id="rId10"/>
    <p:sldId id="263" r:id="rId11"/>
    <p:sldId id="281" r:id="rId12"/>
    <p:sldId id="258" r:id="rId13"/>
    <p:sldId id="267" r:id="rId14"/>
    <p:sldId id="268" r:id="rId15"/>
    <p:sldId id="277" r:id="rId16"/>
    <p:sldId id="278" r:id="rId17"/>
    <p:sldId id="279" r:id="rId18"/>
    <p:sldId id="273" r:id="rId19"/>
    <p:sldId id="282" r:id="rId20"/>
    <p:sldId id="265" r:id="rId21"/>
    <p:sldId id="274" r:id="rId22"/>
    <p:sldId id="264" r:id="rId23"/>
    <p:sldId id="276" r:id="rId24"/>
    <p:sldId id="266" r:id="rId25"/>
  </p:sldIdLst>
  <p:sldSz cx="12192000" cy="6858000"/>
  <p:notesSz cx="6858000" cy="9144000"/>
  <p:custDataLst>
    <p:tags r:id="rId2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31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969" autoAdjust="0"/>
  </p:normalViewPr>
  <p:slideViewPr>
    <p:cSldViewPr snapToGrid="0">
      <p:cViewPr varScale="1">
        <p:scale>
          <a:sx n="64" d="100"/>
          <a:sy n="64" d="100"/>
        </p:scale>
        <p:origin x="67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8EA75A-9AAB-4BDE-9E4C-3461FED7C423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A7C738-4D77-4776-986F-46FC540AB3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1769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A7C738-4D77-4776-986F-46FC540AB3B8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60165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46420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19140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4187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0947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81372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47882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01707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3550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6124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4185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84683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84007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Слайд think-cell" r:id="rId16" imgW="216" imgH="216" progId="TCLayout.ActiveDocument.1">
                  <p:embed/>
                </p:oleObj>
              </mc:Choice>
              <mc:Fallback>
                <p:oleObj name="Слайд think-cell" r:id="rId1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A05731-F413-4FA1-A1EE-A7D6197D86ED}" type="datetimeFigureOut">
              <a:rPr lang="ru-RU" smtClean="0"/>
              <a:t>04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47D16D-F526-470E-8B01-8F89F50E7B2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0328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rcmm.ru/dorozhnoe-stroitelstvo/25703-v-rossii-nayden-vinovnik-plohih-dorog.html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7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docs.cntd.ru/document/gost-30772-2001" TargetMode="Externa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866640" y="1379428"/>
            <a:ext cx="6756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Инновационные решения 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82160" y="2730490"/>
            <a:ext cx="732536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нение инновационных продуктов для </a:t>
            </a:r>
            <a:r>
              <a:rPr lang="ru-RU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развития </a:t>
            </a:r>
            <a:r>
              <a:rPr lang="ru-RU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Санкт Петербурга</a:t>
            </a:r>
          </a:p>
          <a:p>
            <a:pPr algn="ctr"/>
            <a:endParaRPr lang="ru-RU" sz="4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59"/>
          <a:stretch/>
        </p:blipFill>
        <p:spPr>
          <a:xfrm>
            <a:off x="0" y="0"/>
            <a:ext cx="4439920" cy="6858000"/>
          </a:xfrm>
          <a:prstGeom prst="homePlate">
            <a:avLst>
              <a:gd name="adj" fmla="val 22741"/>
            </a:avLst>
          </a:prstGeom>
        </p:spPr>
      </p:pic>
    </p:spTree>
    <p:extLst>
      <p:ext uri="{BB962C8B-B14F-4D97-AF65-F5344CB8AC3E}">
        <p14:creationId xmlns:p14="http://schemas.microsoft.com/office/powerpoint/2010/main" val="6061337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1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1300480"/>
            <a:ext cx="12192000" cy="3464560"/>
          </a:xfrm>
          <a:prstGeom prst="rect">
            <a:avLst/>
          </a:prstGeom>
          <a:solidFill>
            <a:srgbClr val="2D312C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1744960" y="637032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467360" y="1785630"/>
            <a:ext cx="1013968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Я</a:t>
            </a:r>
            <a:endParaRPr lang="ru-RU" sz="6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44226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1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1300480"/>
            <a:ext cx="12192000" cy="3464560"/>
          </a:xfrm>
          <a:prstGeom prst="rect">
            <a:avLst/>
          </a:prstGeom>
          <a:solidFill>
            <a:srgbClr val="2D312C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1744960" y="637032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467360" y="1785630"/>
            <a:ext cx="1013968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приложений</a:t>
            </a:r>
          </a:p>
          <a:p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альное описание основной проблем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яснение процесса работы с </a:t>
            </a:r>
            <a:r>
              <a:rPr lang="ru-RU" sz="2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иклизатом</a:t>
            </a:r>
            <a:endParaRPr lang="ru-RU" sz="24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грозы и риск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ий аспек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9042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513840" y="241310"/>
            <a:ext cx="10139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АЯ ПРОБЛЕМА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7360" y="1204280"/>
            <a:ext cx="1093074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Отсутствие организованного ресурсосбережения:</a:t>
            </a:r>
          </a:p>
          <a:p>
            <a:pPr algn="just"/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Clr>
                <a:srgbClr val="002060"/>
              </a:buClr>
              <a:buFont typeface="+mj-lt"/>
              <a:buAutoNum type="arabicPeriod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ает Валовый Национальный Продукт России </a:t>
            </a:r>
          </a:p>
          <a:p>
            <a:pPr marL="342900" indent="-342900" algn="just">
              <a:buClr>
                <a:srgbClr val="002060"/>
              </a:buClr>
              <a:buFont typeface="+mj-lt"/>
              <a:buAutoNum type="arabicPeriod"/>
            </a:pP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Clr>
                <a:srgbClr val="002060"/>
              </a:buClr>
              <a:buFont typeface="+mj-lt"/>
              <a:buAutoNum type="arabicPeriod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худшает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экологическую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итуацию и вредит здоровью населения </a:t>
            </a:r>
          </a:p>
          <a:p>
            <a:pPr marL="342900" indent="-342900" algn="just">
              <a:buClr>
                <a:srgbClr val="002060"/>
              </a:buClr>
              <a:buFont typeface="+mj-lt"/>
              <a:buAutoNum type="arabicPeriod"/>
            </a:pP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Clr>
                <a:srgbClr val="002060"/>
              </a:buClr>
              <a:buFont typeface="+mj-lt"/>
              <a:buAutoNum type="arabicPeriod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пятствует организации оборотного ресурсного цикла, основы нового, шестого, технологического уклада. </a:t>
            </a:r>
          </a:p>
          <a:p>
            <a:pPr algn="just"/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Одной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з глобальных мировых проблем считается экологическая безопасность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итуация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 каждым годом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усугубляется пополнением тонн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тходов покрышек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Токсичные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ыбросы наносят непоправимый урон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роде. </a:t>
            </a:r>
          </a:p>
          <a:p>
            <a:pPr marL="342900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Засыпанные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грунтом покрышки разлагаются от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0 лет</a:t>
            </a:r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168524" y="302865"/>
            <a:ext cx="2840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1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63478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277620" y="206740"/>
            <a:ext cx="10139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РЕЦИКЛИЗАТ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58154" y="629577"/>
            <a:ext cx="10007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Tx/>
              <a:buChar char="-"/>
            </a:pP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торичная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девулканизированная </a:t>
            </a:r>
            <a:r>
              <a:rPr lang="ru-RU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на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из промышленных резиновых отходов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79120" y="1814681"/>
            <a:ext cx="5212080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Является резиновой смесью и может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читаться заменителем натурального и синтетического каучука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многократно перерабатываться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и добавляться по 20-100 % в различную вновь изготовляемую резиновую продукцию</a:t>
            </a:r>
          </a:p>
          <a:p>
            <a:pPr algn="just"/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Наиболее объемная составляющая в: </a:t>
            </a:r>
          </a:p>
          <a:p>
            <a:pPr algn="just"/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материала при производстве автопокрышек и </a:t>
            </a:r>
            <a:r>
              <a:rPr lang="ru-R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р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резиновых изделий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яжущей добавки для битум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649720" y="4214376"/>
            <a:ext cx="486664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АРС позволяет резиновую крошку до 2 мм превращать в сырую резину-</a:t>
            </a:r>
            <a:r>
              <a:rPr lang="ru-R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ециклизат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без значительных </a:t>
            </a:r>
            <a:r>
              <a:rPr lang="ru-R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энергозатрат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и вреда экологии</a:t>
            </a:r>
          </a:p>
          <a:p>
            <a:pPr algn="just"/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Это материал с высокими физико-механическими свойствами.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ятиугольник 7"/>
          <p:cNvSpPr/>
          <p:nvPr/>
        </p:nvSpPr>
        <p:spPr>
          <a:xfrm>
            <a:off x="208280" y="1916281"/>
            <a:ext cx="370840" cy="177820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ятиугольник 8"/>
          <p:cNvSpPr/>
          <p:nvPr/>
        </p:nvSpPr>
        <p:spPr>
          <a:xfrm>
            <a:off x="208280" y="4345191"/>
            <a:ext cx="370840" cy="177820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6649720" y="1804521"/>
            <a:ext cx="50038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анда Санкт-Петербургских ученых – </a:t>
            </a:r>
          </a:p>
          <a:p>
            <a:pPr algn="just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разработала, запатентовала и успешно испытала модификатор АРС. </a:t>
            </a:r>
          </a:p>
        </p:txBody>
      </p:sp>
      <p:sp>
        <p:nvSpPr>
          <p:cNvPr id="11" name="Пятиугольник 10"/>
          <p:cNvSpPr/>
          <p:nvPr/>
        </p:nvSpPr>
        <p:spPr>
          <a:xfrm>
            <a:off x="6162040" y="4345196"/>
            <a:ext cx="370840" cy="177820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ятиугольник 11"/>
          <p:cNvSpPr/>
          <p:nvPr/>
        </p:nvSpPr>
        <p:spPr>
          <a:xfrm>
            <a:off x="6162040" y="1916281"/>
            <a:ext cx="370840" cy="177820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9168524" y="302865"/>
            <a:ext cx="2840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2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9290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311821" y="210532"/>
            <a:ext cx="10139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НЕНИЕ РЕЦИКЛИЗАТА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96347" y="1407902"/>
            <a:ext cx="8968917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Эксплуатируется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 качестве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авк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нефтяного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тума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 асфальтобетонных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месях, используемых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строительстве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автомобильных 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ог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ециклизат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 качестве добавки в асфальтобетонных смесях совершенствует деформационные и фрикционные свойства дорог, позволяет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ить срок службы дорожного покрытия в 2 раза,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вышает его стойкость к высоким температурам,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ударам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уется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как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рбент для сбора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ырой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и жидких нефтяных пятен с поверхности почвы и воды  </a:t>
            </a: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зготовление резинотехнических изделий (шин, резиновой обуви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зготовления кровельных материалов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9" t="26830" r="1339" b="18700"/>
          <a:stretch/>
        </p:blipFill>
        <p:spPr>
          <a:xfrm>
            <a:off x="9404234" y="602743"/>
            <a:ext cx="2426258" cy="236966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4234" y="4362706"/>
            <a:ext cx="2426258" cy="170848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9168524" y="208275"/>
            <a:ext cx="2840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3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1491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67" name="Рисунок 5166"/>
          <p:cNvPicPr>
            <a:picLocks noChangeAspect="1"/>
          </p:cNvPicPr>
          <p:nvPr/>
        </p:nvPicPr>
        <p:blipFill rotWithShape="1">
          <a:blip r:embed="rId2"/>
          <a:srcRect l="20737" t="27965" r="24710" b="4807"/>
          <a:stretch/>
        </p:blipFill>
        <p:spPr>
          <a:xfrm>
            <a:off x="309992" y="853440"/>
            <a:ext cx="11882008" cy="5593845"/>
          </a:xfrm>
          <a:prstGeom prst="rect">
            <a:avLst/>
          </a:prstGeom>
        </p:spPr>
      </p:pic>
      <p:sp>
        <p:nvSpPr>
          <p:cNvPr id="66" name="Пятиугольник 65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311821" y="210532"/>
            <a:ext cx="10139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НЕНИЕ РЕЦИКЛИЗАТА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168524" y="302865"/>
            <a:ext cx="2840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4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288166" y="945772"/>
            <a:ext cx="2382253" cy="11309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ецтклизат</a:t>
            </a:r>
            <a:endParaRPr lang="ru-RU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резиновая смесь)</a:t>
            </a:r>
          </a:p>
          <a:p>
            <a:pPr algn="ctr"/>
            <a:endParaRPr lang="ru-RU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092727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9061" y="3208109"/>
            <a:ext cx="1932403" cy="133550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42" y="853440"/>
            <a:ext cx="1827421" cy="182742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8240" y="82095"/>
            <a:ext cx="10515600" cy="841650"/>
          </a:xfrm>
        </p:spPr>
        <p:txBody>
          <a:bodyPr>
            <a:normAutofit fontScale="90000"/>
          </a:bodyPr>
          <a:lstStyle/>
          <a:p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БЛЕМА ДОРОГ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ОССИИ НУЖЕН ДОРОЖНЫЙ БИТУМ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7079" y="999272"/>
            <a:ext cx="9831981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9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чество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остаточных нефтяных дорожных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битумов </a:t>
            </a:r>
            <a:r>
              <a:rPr lang="ru-RU" sz="19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соответствует требованиям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ГОСТов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9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водит к тому, что уже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на 3–4 год требуется проведение ремонта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дорог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рубежом межремонтный период составляет 10–12 лет. </a:t>
            </a: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повышения эксплуатационной надежности дорожных покрытий </a:t>
            </a:r>
            <a:r>
              <a:rPr lang="ru-RU" sz="19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жно изменить </a:t>
            </a:r>
            <a:r>
              <a:rPr lang="ru-RU" sz="19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чество дорожного битума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Значительный рост качества нефтяных битумов произошел с появлением модифицированных и полимерно-битумных вяжущих (ПБВ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), но привел резкому скачку цен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9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остаточное производство нефтяных битумов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России приводит к сезонным скачкам цен</a:t>
            </a:r>
            <a:r>
              <a:rPr lang="en-US" sz="19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ятиугольник 4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637953" y="5697962"/>
            <a:ext cx="1141351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но </a:t>
            </a:r>
            <a:r>
              <a:rPr lang="ru-RU" sz="1600" dirty="0" smtClean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ам </a:t>
            </a:r>
            <a:r>
              <a:rPr lang="ru-RU" sz="1600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идента </a:t>
            </a:r>
            <a:r>
              <a:rPr lang="ru-RU" sz="1600" dirty="0" smtClean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проекту БКД - 85</a:t>
            </a:r>
            <a:r>
              <a:rPr lang="ru-RU" sz="1600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федеральных автомобильных дорог должно быть приведено в нормативное транспортно-эксплуатационное состояние, а их межремонтный срок </a:t>
            </a:r>
            <a:r>
              <a:rPr lang="ru-RU" sz="1600" dirty="0" smtClean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жен </a:t>
            </a:r>
            <a:r>
              <a:rPr lang="ru-RU" sz="1600" u="sng" dirty="0" smtClean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достигнуть</a:t>
            </a:r>
            <a:r>
              <a:rPr lang="ru-RU" sz="1600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не менее 12 лет. </a:t>
            </a:r>
            <a:r>
              <a:rPr lang="en-US" sz="1600" dirty="0" smtClean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1600" dirty="0" smtClean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хнологической точки зрения наибольшее </a:t>
            </a:r>
            <a:r>
              <a:rPr lang="ru-RU" sz="1600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начение имеют качественные дорожно-строительные материалы и расширение использования инновационных технологий</a:t>
            </a:r>
            <a:r>
              <a:rPr lang="ru-RU" sz="2000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168524" y="302865"/>
            <a:ext cx="2840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5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3044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13" y="255180"/>
            <a:ext cx="4804418" cy="2966485"/>
          </a:xfrm>
          <a:prstGeom prst="rect">
            <a:avLst/>
          </a:prstGeom>
        </p:spPr>
      </p:pic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6089" y="255180"/>
            <a:ext cx="4808778" cy="296648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2810" y="5213854"/>
            <a:ext cx="1623473" cy="162347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582072" y="3106057"/>
            <a:ext cx="30621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Администрация Санкт-Петербурга</a:t>
            </a:r>
          </a:p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</a:p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анда проекта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Соединительная линия уступом 10"/>
          <p:cNvCxnSpPr>
            <a:stCxn id="4" idx="2"/>
            <a:endCxn id="9" idx="1"/>
          </p:cNvCxnSpPr>
          <p:nvPr/>
        </p:nvCxnSpPr>
        <p:spPr>
          <a:xfrm rot="16200000" flipH="1">
            <a:off x="3290436" y="2599251"/>
            <a:ext cx="669222" cy="1914050"/>
          </a:xfrm>
          <a:prstGeom prst="bentConnector2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11"/>
          <p:cNvCxnSpPr>
            <a:stCxn id="6" idx="2"/>
            <a:endCxn id="9" idx="3"/>
          </p:cNvCxnSpPr>
          <p:nvPr/>
        </p:nvCxnSpPr>
        <p:spPr>
          <a:xfrm rot="5400000">
            <a:off x="8267752" y="2598161"/>
            <a:ext cx="669222" cy="1916230"/>
          </a:xfrm>
          <a:prstGeom prst="bentConnector2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трелка вниз 14"/>
          <p:cNvSpPr/>
          <p:nvPr/>
        </p:nvSpPr>
        <p:spPr>
          <a:xfrm>
            <a:off x="6034742" y="4920337"/>
            <a:ext cx="239608" cy="337610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9168524" y="6283228"/>
            <a:ext cx="2840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6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24923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8240" y="-159862"/>
            <a:ext cx="10515600" cy="1325563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ГРОЗЫ И РИСК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041991"/>
            <a:ext cx="10515600" cy="5134972"/>
          </a:xfrm>
        </p:spPr>
        <p:txBody>
          <a:bodyPr>
            <a:normAutofit/>
          </a:bodyPr>
          <a:lstStyle/>
          <a:p>
            <a:pPr algn="just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конодателям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егодня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роработан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ействи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торсырьем </a:t>
            </a:r>
          </a:p>
          <a:p>
            <a:pPr algn="just"/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 порядок финансировани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этих действий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ры поддержки:</a:t>
            </a:r>
          </a:p>
          <a:p>
            <a:pPr algn="just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юля 2006 г. Европейский Союз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одательно запретил </a:t>
            </a: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жигать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 закапывать в землю использованные автопокрышки. </a:t>
            </a:r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аконодательно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дить приоритетность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зделий изготовленных с использованием вторичных материалов ( на уровне ФЗ 44 и ФАС)</a:t>
            </a:r>
          </a:p>
          <a:p>
            <a:pPr algn="just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од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за/утилизационного сбора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а утилизацию резиновых изделий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ятиугольник 3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9168524" y="302865"/>
            <a:ext cx="2840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7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6903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513840" y="210532"/>
            <a:ext cx="10139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ЛАН РЕАЛИЗАЦИИ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77520" y="2412615"/>
            <a:ext cx="4958080" cy="2323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marR="9525" indent="-342900" algn="just">
              <a:lnSpc>
                <a:spcPct val="100000"/>
              </a:lnSpc>
              <a:spcBef>
                <a:spcPts val="100"/>
              </a:spcBef>
              <a:buClr>
                <a:srgbClr val="002060"/>
              </a:buClr>
              <a:buFont typeface="Wingdings 3"/>
              <a:buChar char=""/>
              <a:tabLst>
                <a:tab pos="419100" algn="l"/>
              </a:tabLst>
            </a:pPr>
            <a:r>
              <a:rPr lang="ru-RU" sz="20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лаборатории</a:t>
            </a:r>
          </a:p>
          <a:p>
            <a:pPr marL="12700" marR="9525" algn="just">
              <a:lnSpc>
                <a:spcPct val="100000"/>
              </a:lnSpc>
              <a:spcBef>
                <a:spcPts val="100"/>
              </a:spcBef>
              <a:buClr>
                <a:srgbClr val="A42F0F"/>
              </a:buClr>
              <a:tabLst>
                <a:tab pos="419100" algn="l"/>
              </a:tabLst>
            </a:pPr>
            <a:r>
              <a:rPr lang="ru-RU" sz="20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55600" marR="9525" indent="-342900" algn="just">
              <a:lnSpc>
                <a:spcPct val="100000"/>
              </a:lnSpc>
              <a:spcBef>
                <a:spcPts val="100"/>
              </a:spcBef>
              <a:buClr>
                <a:schemeClr val="accent5">
                  <a:lumMod val="50000"/>
                </a:schemeClr>
              </a:buClr>
              <a:buFont typeface="Wingdings 3"/>
              <a:buChar char=""/>
              <a:tabLst>
                <a:tab pos="419100" algn="l"/>
              </a:tabLst>
            </a:pPr>
            <a:r>
              <a:rPr lang="ru-RU" sz="20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</a:t>
            </a:r>
            <a:r>
              <a:rPr lang="ru-RU" sz="2000" b="1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</a:t>
            </a:r>
            <a:endParaRPr lang="ru-RU" sz="2000" spc="-5" dirty="0" smtClean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9525" indent="-342900" algn="just">
              <a:lnSpc>
                <a:spcPct val="100000"/>
              </a:lnSpc>
              <a:spcBef>
                <a:spcPts val="100"/>
              </a:spcBef>
              <a:buClr>
                <a:schemeClr val="accent5">
                  <a:lumMod val="50000"/>
                </a:schemeClr>
              </a:buClr>
              <a:buFont typeface="Wingdings 3"/>
              <a:buChar char=""/>
              <a:tabLst>
                <a:tab pos="419100" algn="l"/>
              </a:tabLst>
            </a:pPr>
            <a:endParaRPr lang="ru-RU" sz="2000" spc="-5" dirty="0" smtClean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9525" indent="-342900" algn="just">
              <a:lnSpc>
                <a:spcPct val="100000"/>
              </a:lnSpc>
              <a:spcBef>
                <a:spcPts val="100"/>
              </a:spcBef>
              <a:buClr>
                <a:schemeClr val="accent5">
                  <a:lumMod val="50000"/>
                </a:schemeClr>
              </a:buClr>
              <a:buFont typeface="Wingdings 3"/>
              <a:buChar char=""/>
              <a:tabLst>
                <a:tab pos="419100" algn="l"/>
              </a:tabLst>
            </a:pPr>
            <a:r>
              <a:rPr lang="ru-RU" sz="2000" b="1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</a:t>
            </a:r>
          </a:p>
          <a:p>
            <a:pPr marL="355600" marR="9525" indent="-342900" algn="just">
              <a:lnSpc>
                <a:spcPct val="100000"/>
              </a:lnSpc>
              <a:spcBef>
                <a:spcPts val="100"/>
              </a:spcBef>
              <a:buClr>
                <a:schemeClr val="accent5">
                  <a:lumMod val="50000"/>
                </a:schemeClr>
              </a:buClr>
              <a:buFont typeface="Wingdings 3"/>
              <a:buChar char=""/>
              <a:tabLst>
                <a:tab pos="419100" algn="l"/>
              </a:tabLst>
            </a:pPr>
            <a:endParaRPr lang="ru-RU" sz="2000" b="1" spc="-5" dirty="0" smtClean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9525" indent="-342900" algn="just">
              <a:lnSpc>
                <a:spcPct val="100000"/>
              </a:lnSpc>
              <a:spcBef>
                <a:spcPts val="100"/>
              </a:spcBef>
              <a:buClr>
                <a:schemeClr val="accent5">
                  <a:lumMod val="50000"/>
                </a:schemeClr>
              </a:buClr>
              <a:buFont typeface="Wingdings 3"/>
              <a:buChar char=""/>
              <a:tabLst>
                <a:tab pos="419100" algn="l"/>
              </a:tabLst>
            </a:pPr>
            <a:r>
              <a:rPr lang="ru-RU" sz="2000" b="1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ие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557520" y="1055129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355600" marR="9525" indent="-342900" algn="just">
              <a:lnSpc>
                <a:spcPct val="100000"/>
              </a:lnSpc>
              <a:spcBef>
                <a:spcPts val="1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 3"/>
              <a:buChar char=""/>
              <a:tabLst>
                <a:tab pos="419100" algn="l"/>
              </a:tabLst>
            </a:pP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ем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коллективом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истов по  разработке рецептур новых резиновых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есей и организацией контроля за 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ом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ификатора и</a:t>
            </a:r>
            <a:r>
              <a:rPr lang="ru-RU" spc="-1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иклизата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557520" y="2515280"/>
            <a:ext cx="6096000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marR="9525" indent="-342900" algn="just">
              <a:lnSpc>
                <a:spcPct val="100000"/>
              </a:lnSpc>
              <a:spcBef>
                <a:spcPts val="1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 3"/>
              <a:buChar char=""/>
              <a:tabLst>
                <a:tab pos="419100" algn="l"/>
              </a:tabLst>
            </a:pP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нии по производству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ификатора</a:t>
            </a:r>
            <a:r>
              <a:rPr lang="ru-RU" spc="-6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р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циклизата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ующей реализации по низким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ам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одам по  производству новых резиновых</a:t>
            </a:r>
            <a:r>
              <a:rPr lang="ru-RU" spc="-1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есей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557520" y="4006208"/>
            <a:ext cx="6096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marR="9525" indent="-342900" algn="just">
              <a:lnSpc>
                <a:spcPct val="100000"/>
              </a:lnSpc>
              <a:spcBef>
                <a:spcPts val="1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 3"/>
              <a:buChar char=""/>
              <a:tabLst>
                <a:tab pos="419100" algn="l"/>
              </a:tabLst>
            </a:pP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на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их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одах по производству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ой</a:t>
            </a:r>
            <a:r>
              <a:rPr lang="ru-RU" spc="-6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ны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и производства модификатора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С и Рециклизата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о</a:t>
            </a:r>
            <a:r>
              <a:rPr lang="ru-RU" spc="-1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е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557520" y="5466359"/>
            <a:ext cx="6096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marR="9525" indent="-342900" algn="just">
              <a:lnSpc>
                <a:spcPct val="100000"/>
              </a:lnSpc>
              <a:spcBef>
                <a:spcPts val="100"/>
              </a:spcBef>
              <a:buClr>
                <a:schemeClr val="accent5">
                  <a:lumMod val="60000"/>
                  <a:lumOff val="40000"/>
                </a:schemeClr>
              </a:buClr>
              <a:buFont typeface="Wingdings 3"/>
              <a:buChar char=""/>
              <a:tabLst>
                <a:tab pos="419100" algn="l"/>
              </a:tabLst>
            </a:pP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ие материала </a:t>
            </a:r>
            <a:r>
              <a:rPr lang="ru-RU" spc="-5" dirty="0" err="1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иклизат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в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ем производстве готовой  продукции, </a:t>
            </a:r>
            <a:r>
              <a:rPr lang="ru-RU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 и для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и на</a:t>
            </a:r>
            <a:r>
              <a:rPr lang="ru-RU" spc="-30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pc="-5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ке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Соединительная линия уступом 11"/>
          <p:cNvCxnSpPr/>
          <p:nvPr/>
        </p:nvCxnSpPr>
        <p:spPr>
          <a:xfrm flipV="1">
            <a:off x="3931920" y="1239520"/>
            <a:ext cx="1625600" cy="1371600"/>
          </a:xfrm>
          <a:prstGeom prst="bentConnector3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ная линия уступом 14"/>
          <p:cNvCxnSpPr/>
          <p:nvPr/>
        </p:nvCxnSpPr>
        <p:spPr>
          <a:xfrm flipV="1">
            <a:off x="4439920" y="2699671"/>
            <a:ext cx="1117600" cy="567590"/>
          </a:xfrm>
          <a:prstGeom prst="bentConnector3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Соединительная линия уступом 16"/>
          <p:cNvCxnSpPr/>
          <p:nvPr/>
        </p:nvCxnSpPr>
        <p:spPr>
          <a:xfrm>
            <a:off x="2428240" y="3898906"/>
            <a:ext cx="3129280" cy="287014"/>
          </a:xfrm>
          <a:prstGeom prst="bentConnector3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Соединительная линия уступом 18"/>
          <p:cNvCxnSpPr/>
          <p:nvPr/>
        </p:nvCxnSpPr>
        <p:spPr>
          <a:xfrm>
            <a:off x="2956560" y="4552722"/>
            <a:ext cx="2600960" cy="1119489"/>
          </a:xfrm>
          <a:prstGeom prst="bentConnector3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7552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513840" y="241310"/>
            <a:ext cx="10139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АКТУАЛЬНОСТЬ ВОПРОСА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120" y="681933"/>
            <a:ext cx="11074400" cy="6232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1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циональный проект «Экология»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1 октября 2018 г. - 31 декабря 2024 г.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ru-RU" sz="19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э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ффективное обращение с отходами производства и потребления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ru-RU" sz="19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а</a:t>
            </a:r>
            <a:r>
              <a:rPr lang="ru-RU" sz="1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– формирование комплексной системы обращения с отходами</a:t>
            </a:r>
            <a:endParaRPr lang="en-US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900" b="1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ый проект «Безопасные и качественные автомобильные </a:t>
            </a:r>
            <a:r>
              <a:rPr lang="ru-RU" sz="1900" b="1" dirty="0" smtClean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оги»</a:t>
            </a:r>
          </a:p>
          <a:p>
            <a:pPr marL="1200150" lvl="2" indent="-285750" algn="just">
              <a:buFont typeface="Arial" panose="020B0604020202020204" pitchFamily="34" charset="0"/>
              <a:buChar char="•"/>
            </a:pPr>
            <a:r>
              <a:rPr lang="ru-RU" sz="19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– 85</a:t>
            </a:r>
            <a:r>
              <a:rPr lang="ru-RU" sz="19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доля сетей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городских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агломераций в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нормативном состоянии к 2024г. </a:t>
            </a: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900" dirty="0" smtClean="0">
              <a:solidFill>
                <a:srgbClr val="2D31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ru-RU" sz="1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едеральный приоритетный проект «Чистая страна» </a:t>
            </a:r>
          </a:p>
          <a:p>
            <a:pPr marL="1200150" lvl="2" indent="-285750" algn="just" fontAlgn="base">
              <a:buFont typeface="Arial" panose="020B0604020202020204" pitchFamily="34" charset="0"/>
              <a:buChar char="•"/>
            </a:pPr>
            <a:r>
              <a:rPr lang="ru-RU" sz="19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ая</a:t>
            </a:r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– снизить экологический ущерб и риски, связанные с захоронением отходов. </a:t>
            </a:r>
          </a:p>
          <a:p>
            <a:pPr algn="just" fontAlgn="base"/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реализации проекта – </a:t>
            </a:r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января 2017 года по 2025 год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(включительно)</a:t>
            </a:r>
          </a:p>
          <a:p>
            <a:pPr algn="just" fontAlgn="base"/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fontAlgn="base">
              <a:buFont typeface="Arial" panose="020B0604020202020204" pitchFamily="34" charset="0"/>
              <a:buChar char="•"/>
            </a:pPr>
            <a:r>
              <a:rPr lang="ru-RU" sz="1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гиональный проект «Экология» в Санкт-Петербурге. Формирование </a:t>
            </a:r>
            <a:r>
              <a:rPr lang="ru-RU" sz="1900" b="1" dirty="0">
                <a:latin typeface="Arial" panose="020B0604020202020204" pitchFamily="34" charset="0"/>
                <a:cs typeface="Arial" panose="020B0604020202020204" pitchFamily="34" charset="0"/>
              </a:rPr>
              <a:t>комплексной системы обращения с твердыми коммунальными </a:t>
            </a:r>
            <a:r>
              <a:rPr lang="ru-RU" sz="1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ходами.</a:t>
            </a:r>
            <a:endParaRPr lang="ru-RU" sz="1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00150" lvl="2" indent="-285750" algn="just" fontAlgn="base">
              <a:buFont typeface="Arial" panose="020B0604020202020204" pitchFamily="34" charset="0"/>
              <a:buChar char="•"/>
            </a:pPr>
            <a:r>
              <a:rPr lang="ru-RU" sz="19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проекта </a:t>
            </a:r>
            <a:r>
              <a:rPr lang="ru-RU" sz="1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эффективное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обращение с отходами производства и потребления в 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СПб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 к 2024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году.</a:t>
            </a:r>
          </a:p>
          <a:p>
            <a:pPr lvl="2" algn="just" fontAlgn="base"/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/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Достижение: «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обезвреженных,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илизированных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обработанных твердых коммунальных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ходов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в общем объёме образовавшихся отходов» на уровне </a:t>
            </a:r>
            <a:r>
              <a:rPr lang="ru-RU" sz="19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8,7 %</a:t>
            </a:r>
          </a:p>
          <a:p>
            <a:pPr algn="just" fontAlgn="base"/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1537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/>
          <p:cNvSpPr/>
          <p:nvPr/>
        </p:nvSpPr>
        <p:spPr>
          <a:xfrm>
            <a:off x="751840" y="375920"/>
            <a:ext cx="10708640" cy="639064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Пятиугольник 1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39520" y="210532"/>
            <a:ext cx="10952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Общий вид производственной линии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168524" y="302865"/>
            <a:ext cx="2840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8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6961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1336978"/>
              </p:ext>
            </p:extLst>
          </p:nvPr>
        </p:nvGraphicFramePr>
        <p:xfrm>
          <a:off x="838200" y="301083"/>
          <a:ext cx="11004395" cy="63523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Document" r:id="rId3" imgW="9382785" imgH="6598298" progId="Word.Document.8">
                  <p:embed/>
                </p:oleObj>
              </mc:Choice>
              <mc:Fallback>
                <p:oleObj name="Document" r:id="rId3" imgW="9382785" imgH="6598298" progId="Word.Document.8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8200" y="301083"/>
                        <a:ext cx="11004395" cy="635238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ятиугольник 5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168524" y="302865"/>
            <a:ext cx="2840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9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21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744960" y="637032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58241" y="0"/>
            <a:ext cx="801028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Ожидаемые основные технико-экономические показатели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256954"/>
              </p:ext>
            </p:extLst>
          </p:nvPr>
        </p:nvGraphicFramePr>
        <p:xfrm>
          <a:off x="1158183" y="1173859"/>
          <a:ext cx="9967778" cy="348585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838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838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935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600" b="1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тья</a:t>
                      </a:r>
                      <a:r>
                        <a:rPr sz="1600" b="1" spc="-1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600" b="1" spc="-1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</a:t>
                      </a:r>
                      <a:endParaRPr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600" b="1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в</a:t>
                      </a:r>
                      <a:r>
                        <a:rPr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600" b="1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</a:t>
                      </a:r>
                      <a:endParaRPr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0441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1225"/>
                        </a:spcBef>
                      </a:pP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енда 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мещений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</a:t>
                      </a:r>
                      <a:r>
                        <a:rPr sz="1400" spc="-3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а</a:t>
                      </a:r>
                      <a:endParaRPr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555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225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 600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555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043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ий фонд оплаты труда (ФОТ)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2 520</a:t>
                      </a:r>
                      <a:r>
                        <a:rPr sz="1400" spc="-1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4043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 на</a:t>
                      </a:r>
                      <a:r>
                        <a:rPr sz="1400" spc="1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Т</a:t>
                      </a:r>
                      <a:endParaRPr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2 683</a:t>
                      </a:r>
                      <a:r>
                        <a:rPr sz="1400" spc="-1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4043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ортизация</a:t>
                      </a:r>
                      <a:r>
                        <a:rPr sz="1400" spc="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орудования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0 000</a:t>
                      </a:r>
                      <a:r>
                        <a:rPr sz="1400" spc="-1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4043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ы на</a:t>
                      </a:r>
                      <a:r>
                        <a:rPr sz="1400" spc="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лектроэнергию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0 040</a:t>
                      </a:r>
                      <a:r>
                        <a:rPr sz="1400" spc="-1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4043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кладные расходы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ФОТ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8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5 512</a:t>
                      </a:r>
                      <a:r>
                        <a:rPr sz="1400" spc="-1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8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1800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ошка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</a:t>
                      </a:r>
                      <a:r>
                        <a:rPr sz="1400" spc="1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дификатор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2222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75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1 000</a:t>
                      </a:r>
                      <a:r>
                        <a:rPr sz="1400" spc="-1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2222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4043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sz="1400" b="1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 355</a:t>
                      </a:r>
                      <a:r>
                        <a:rPr sz="1400" b="1" spc="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aphicFrame>
        <p:nvGraphicFramePr>
          <p:cNvPr id="8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7622409"/>
              </p:ext>
            </p:extLst>
          </p:nvPr>
        </p:nvGraphicFramePr>
        <p:xfrm>
          <a:off x="1158241" y="3837178"/>
          <a:ext cx="9967086" cy="160858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0378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292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6911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925"/>
                        </a:spcBef>
                      </a:pPr>
                      <a:r>
                        <a:rPr sz="1600" b="1" spc="-1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</a:t>
                      </a:r>
                      <a:endParaRPr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174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925"/>
                        </a:spcBef>
                      </a:pPr>
                      <a:r>
                        <a:rPr sz="1600" b="1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  <a:endParaRPr sz="16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174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043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ручка (1 500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вро/т х 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0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</a:t>
                      </a:r>
                      <a:r>
                        <a:rPr sz="1400" spc="-1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8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0 000</a:t>
                      </a:r>
                      <a:r>
                        <a:rPr sz="1400" spc="-2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8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043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r>
                        <a:rPr sz="1400" spc="-1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ы</a:t>
                      </a:r>
                      <a:endParaRPr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8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sz="1400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 355</a:t>
                      </a:r>
                      <a:r>
                        <a:rPr sz="1400" spc="-2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8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138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050" b="1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быль </a:t>
                      </a:r>
                      <a:r>
                        <a:rPr sz="105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</a:t>
                      </a:r>
                      <a:r>
                        <a:rPr sz="1050" b="1" spc="-3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050" b="1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ообложения</a:t>
                      </a:r>
                      <a:endParaRPr sz="105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968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r>
                        <a:rPr sz="1200" b="1" spc="-1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8 </a:t>
                      </a:r>
                      <a:r>
                        <a:rPr sz="1200" b="1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5</a:t>
                      </a:r>
                      <a:r>
                        <a:rPr sz="1200" b="1" spc="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sz="1200" b="1" spc="-5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38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FE8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object 5"/>
          <p:cNvSpPr txBox="1"/>
          <p:nvPr/>
        </p:nvSpPr>
        <p:spPr>
          <a:xfrm>
            <a:off x="1158183" y="5803498"/>
            <a:ext cx="9967144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sz="2400" b="1" spc="-5" dirty="0" err="1">
                <a:latin typeface="Arial" panose="020B0604020202020204" pitchFamily="34" charset="0"/>
                <a:cs typeface="Arial" panose="020B0604020202020204" pitchFamily="34" charset="0"/>
              </a:rPr>
              <a:t>Срок</a:t>
            </a:r>
            <a:r>
              <a:rPr sz="2400" b="1" spc="-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400" b="1" spc="-5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купаемости</a:t>
            </a:r>
            <a:r>
              <a:rPr lang="ru-RU" sz="2400" b="1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 при инвестициях в одно производство </a:t>
            </a:r>
            <a:r>
              <a:rPr sz="2400" b="1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400" b="1" spc="-5" dirty="0">
                <a:latin typeface="Arial" panose="020B0604020202020204" pitchFamily="34" charset="0"/>
                <a:cs typeface="Arial" panose="020B0604020202020204" pitchFamily="34" charset="0"/>
              </a:rPr>
              <a:t>проекта </a:t>
            </a:r>
            <a:r>
              <a:rPr sz="2400" b="1" dirty="0">
                <a:latin typeface="Arial" panose="020B0604020202020204" pitchFamily="34" charset="0"/>
                <a:cs typeface="Arial" panose="020B0604020202020204" pitchFamily="34" charset="0"/>
              </a:rPr>
              <a:t>4,5</a:t>
            </a:r>
            <a:r>
              <a:rPr sz="2400" b="1" spc="-3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2400" b="1" spc="-30" dirty="0"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168524" y="302865"/>
            <a:ext cx="2840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10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0156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413520"/>
              </p:ext>
            </p:extLst>
          </p:nvPr>
        </p:nvGraphicFramePr>
        <p:xfrm>
          <a:off x="1158240" y="1000899"/>
          <a:ext cx="10291795" cy="4152751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692717">
                  <a:extLst>
                    <a:ext uri="{9D8B030D-6E8A-4147-A177-3AD203B41FA5}">
                      <a16:colId xmlns:a16="http://schemas.microsoft.com/office/drawing/2014/main" val="2377733859"/>
                    </a:ext>
                  </a:extLst>
                </a:gridCol>
                <a:gridCol w="6168480">
                  <a:extLst>
                    <a:ext uri="{9D8B030D-6E8A-4147-A177-3AD203B41FA5}">
                      <a16:colId xmlns:a16="http://schemas.microsoft.com/office/drawing/2014/main" val="2303653659"/>
                    </a:ext>
                  </a:extLst>
                </a:gridCol>
                <a:gridCol w="3430598">
                  <a:extLst>
                    <a:ext uri="{9D8B030D-6E8A-4147-A177-3AD203B41FA5}">
                      <a16:colId xmlns:a16="http://schemas.microsoft.com/office/drawing/2014/main" val="1622097512"/>
                    </a:ext>
                  </a:extLst>
                </a:gridCol>
              </a:tblGrid>
              <a:tr h="390594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дитель</a:t>
                      </a: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погрузчика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чел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66165"/>
                  </a:ext>
                </a:extLst>
              </a:tr>
              <a:tr h="543527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ртировщик покрышек и обслуживание </a:t>
                      </a: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тановки по удалению бортового кольца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</a:t>
                      </a: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4607611"/>
                  </a:ext>
                </a:extLst>
              </a:tr>
              <a:tr h="543527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ий по подаче покрышек на переработку </a:t>
                      </a: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обслуживанию ножевых дробилок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</a:t>
                      </a: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477954"/>
                  </a:ext>
                </a:extLst>
              </a:tr>
              <a:tr h="543527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ий по обслуживанию молотковых </a:t>
                      </a: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робилок и </a:t>
                      </a:r>
                      <a:r>
                        <a:rPr lang="ru-RU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льцев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</a:t>
                      </a: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6621310"/>
                  </a:ext>
                </a:extLst>
              </a:tr>
              <a:tr h="543527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ий по обслуживанию магнитных </a:t>
                      </a: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параторов, грохотов, аспирации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чел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404185"/>
                  </a:ext>
                </a:extLst>
              </a:tr>
              <a:tr h="390594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паковщик</a:t>
                      </a: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кции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чел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999568"/>
                  </a:ext>
                </a:extLst>
              </a:tr>
              <a:tr h="390594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ие по ремонту оборудования: электромеханик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чел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714173"/>
                  </a:ext>
                </a:extLst>
              </a:tr>
              <a:tr h="390594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ератор</a:t>
                      </a: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тановки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чел.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2429012"/>
                  </a:ext>
                </a:extLst>
              </a:tr>
              <a:tr h="271763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50800" algn="r" fontAlgn="base" hangingPunct="0">
                        <a:lnSpc>
                          <a:spcPct val="108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  <a:r>
                        <a:rPr lang="en-US" sz="120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endParaRPr lang="ru-RU" sz="120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</a:t>
                      </a: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</a:t>
                      </a: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656420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3675078"/>
              </p:ext>
            </p:extLst>
          </p:nvPr>
        </p:nvGraphicFramePr>
        <p:xfrm>
          <a:off x="1158240" y="5153649"/>
          <a:ext cx="10291795" cy="1576758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685313">
                  <a:extLst>
                    <a:ext uri="{9D8B030D-6E8A-4147-A177-3AD203B41FA5}">
                      <a16:colId xmlns:a16="http://schemas.microsoft.com/office/drawing/2014/main" val="3069101615"/>
                    </a:ext>
                  </a:extLst>
                </a:gridCol>
                <a:gridCol w="6175517">
                  <a:extLst>
                    <a:ext uri="{9D8B030D-6E8A-4147-A177-3AD203B41FA5}">
                      <a16:colId xmlns:a16="http://schemas.microsoft.com/office/drawing/2014/main" val="902998312"/>
                    </a:ext>
                  </a:extLst>
                </a:gridCol>
                <a:gridCol w="3430965">
                  <a:extLst>
                    <a:ext uri="{9D8B030D-6E8A-4147-A177-3AD203B41FA5}">
                      <a16:colId xmlns:a16="http://schemas.microsoft.com/office/drawing/2014/main" val="3704823702"/>
                    </a:ext>
                  </a:extLst>
                </a:gridCol>
              </a:tblGrid>
              <a:tr h="471159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ий для подготовки (развески) </a:t>
                      </a: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ходных материалов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чел.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473705"/>
                  </a:ext>
                </a:extLst>
              </a:tr>
              <a:tr h="489949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50800" algn="l" fontAlgn="base" hangingPunct="0">
                        <a:lnSpc>
                          <a:spcPct val="108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ий для подачи крошки, модификатора и других материалов в </a:t>
                      </a:r>
                      <a:r>
                        <a:rPr lang="ru-RU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иносмеситель</a:t>
                      </a:r>
                      <a:endParaRPr lang="ru-RU" sz="12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</a:t>
                      </a: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8652939"/>
                  </a:ext>
                </a:extLst>
              </a:tr>
              <a:tr h="615650">
                <a:tc>
                  <a:txBody>
                    <a:bodyPr/>
                    <a:lstStyle/>
                    <a:p>
                      <a:pPr indent="457200" algn="l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ий по обслуживанию </a:t>
                      </a:r>
                      <a:r>
                        <a:rPr lang="ru-RU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льцев</a:t>
                      </a: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транспортеров (он же упаковщик продукции на поддоны)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indent="457200" algn="just" hangingPunct="0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</a:t>
                      </a:r>
                      <a:r>
                        <a:rPr lang="en-US" sz="1400" dirty="0">
                          <a:solidFill>
                            <a:srgbClr val="2D312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dirty="0">
                        <a:solidFill>
                          <a:srgbClr val="2D312C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8374576"/>
                  </a:ext>
                </a:extLst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842211" y="25867"/>
            <a:ext cx="8848328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Для обслуживания работы линии по утилизации автомобильных покрышек требуется при работе в одну смену девять человек</a:t>
            </a:r>
            <a:endParaRPr kumimoji="0" lang="ru-RU" alt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  <a:p>
            <a:pPr marL="0" marR="0" lvl="0" indent="45720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Для переработки резиновой крошки в </a:t>
            </a:r>
            <a:r>
              <a:rPr kumimoji="0" lang="ru-RU" altLang="ru-RU" sz="14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рециклизат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производительностью до 0.5 тонн/час требуется</a:t>
            </a:r>
            <a:r>
              <a:rPr kumimoji="0" lang="ru-RU" altLang="ru-RU" sz="14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ru-RU" alt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anose="02020603050405020304" pitchFamily="18" charset="0"/>
                <a:cs typeface="Arial" panose="020B0604020202020204" pitchFamily="34" charset="0"/>
              </a:rPr>
              <a:t> 3 человека</a:t>
            </a:r>
            <a:endParaRPr kumimoji="0" lang="ru-RU" alt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</p:txBody>
      </p:sp>
      <p:sp>
        <p:nvSpPr>
          <p:cNvPr id="7" name="Пятиугольник 6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168524" y="302865"/>
            <a:ext cx="2840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  <a:p>
            <a:pPr algn="r"/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12900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l="35242" t="25894" r="17609" b="17944"/>
          <a:stretch/>
        </p:blipFill>
        <p:spPr>
          <a:xfrm>
            <a:off x="1428604" y="986331"/>
            <a:ext cx="9646838" cy="646370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168524" y="302865"/>
            <a:ext cx="2840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е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</a:p>
          <a:p>
            <a:pPr algn="r"/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59154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6488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Слайд think-cell" r:id="rId5" imgW="216" imgH="216" progId="TCLayout.ActiveDocument.1">
                  <p:embed/>
                </p:oleObj>
              </mc:Choice>
              <mc:Fallback>
                <p:oleObj name="Слайд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6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4036" y="268650"/>
            <a:ext cx="5075117" cy="3069973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8240" y="102781"/>
            <a:ext cx="10515600" cy="1325563"/>
          </a:xfrm>
        </p:spPr>
        <p:txBody>
          <a:bodyPr>
            <a:normAutofit/>
          </a:bodyPr>
          <a:lstStyle/>
          <a:p>
            <a: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  <a:t>ОСНОВНАЯ </a:t>
            </a:r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БЛЕМА*</a:t>
            </a:r>
            <a: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3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63724" y="1254991"/>
            <a:ext cx="6658181" cy="5390358"/>
          </a:xfrm>
        </p:spPr>
        <p:txBody>
          <a:bodyPr>
            <a:normAutofit/>
          </a:bodyPr>
          <a:lstStyle/>
          <a:p>
            <a:pPr algn="just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ольк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спользуются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стальная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асть –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кладируется ил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ст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ыбрасывается. </a:t>
            </a:r>
          </a:p>
          <a:p>
            <a:pPr algn="just"/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ьше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%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сех шин в мире изготовлены из синтетического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аучук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изготавливаемог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з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нефти-  </a:t>
            </a:r>
            <a:b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озобновляемого ресурса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4036" y="3841566"/>
            <a:ext cx="5075117" cy="2686826"/>
          </a:xfrm>
          <a:prstGeom prst="rect">
            <a:avLst/>
          </a:prstGeom>
        </p:spPr>
      </p:pic>
      <p:sp>
        <p:nvSpPr>
          <p:cNvPr id="6" name="Пятиугольник 5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458012" y="6505903"/>
            <a:ext cx="10515600" cy="340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*детальное описание на приложении №1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938434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814" y="5055931"/>
            <a:ext cx="2516371" cy="173909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8240" y="-96064"/>
            <a:ext cx="8295167" cy="1325563"/>
          </a:xfrm>
        </p:spPr>
        <p:txBody>
          <a:bodyPr>
            <a:normAutofit/>
          </a:bodyPr>
          <a:lstStyle/>
          <a:p>
            <a:pPr algn="just"/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НЕОБХОДИМОСТЬ ПЕРЕРАБОТКИ РЕЗИНОВЫХ ИЗДЕЛИЙ</a:t>
            </a:r>
            <a:endParaRPr lang="ru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6061" y="1477963"/>
            <a:ext cx="11399875" cy="4571187"/>
          </a:xfrm>
        </p:spPr>
        <p:txBody>
          <a:bodyPr>
            <a:normAutofit/>
          </a:bodyPr>
          <a:lstStyle/>
          <a:p>
            <a:pPr algn="just">
              <a:lnSpc>
                <a:spcPct val="110000"/>
              </a:lnSpc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зина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вержена разложению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природной среде.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0000"/>
              </a:lnSpc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ост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а и потребления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ивают свалки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just">
              <a:lnSpc>
                <a:spcPct val="110000"/>
              </a:lnSpc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интетический каучук производят из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ефти.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ь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—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восполним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иродный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110000"/>
              </a:lnSpc>
            </a:pP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отка экономит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энергетические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ы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заставляет изобретать новые более дешевые технологии.</a:t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ятиугольник 4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3529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6875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Слайд think-cell" r:id="rId5" imgW="216" imgH="216" progId="TCLayout.ActiveDocument.1">
                  <p:embed/>
                </p:oleObj>
              </mc:Choice>
              <mc:Fallback>
                <p:oleObj name="Слайд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8240" y="-50498"/>
            <a:ext cx="10195560" cy="1106836"/>
          </a:xfrm>
        </p:spPr>
        <p:txBody>
          <a:bodyPr>
            <a:normAutofit/>
          </a:bodyPr>
          <a:lstStyle/>
          <a:p>
            <a:pPr algn="just"/>
            <a:r>
              <a:rPr lang="ru-RU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ЗАДАЧИ НАШЕГО ГОРОДА</a:t>
            </a:r>
            <a:endParaRPr lang="ru-RU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32121" y="853439"/>
            <a:ext cx="10551042" cy="5834439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 соответствии с утвержденным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значениями:</a:t>
            </a:r>
          </a:p>
          <a:p>
            <a:pPr algn="just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 2021 году в Санкт-Петербурге планируется перерабатывать 38,4% образуемых на его территории ТКО,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 2024 — 48,7%,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 2025 году город должен перерабатывать почти 70% собственных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ходов</a:t>
            </a:r>
          </a:p>
          <a:p>
            <a:pPr algn="just"/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 к 2030 году выйти на их 100-процентную переработку, уточнили в пресс-службе профильного комитета. Об эт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ообщает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ятиугольник 3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Шеврон 4"/>
          <p:cNvSpPr/>
          <p:nvPr/>
        </p:nvSpPr>
        <p:spPr>
          <a:xfrm rot="5400000">
            <a:off x="6026888" y="2200941"/>
            <a:ext cx="361507" cy="531628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" name="Шеврон 5"/>
          <p:cNvSpPr/>
          <p:nvPr/>
        </p:nvSpPr>
        <p:spPr>
          <a:xfrm rot="5400000">
            <a:off x="6026888" y="3223524"/>
            <a:ext cx="361507" cy="531628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Шеврон 6"/>
          <p:cNvSpPr/>
          <p:nvPr/>
        </p:nvSpPr>
        <p:spPr>
          <a:xfrm rot="5400000">
            <a:off x="6026888" y="4641199"/>
            <a:ext cx="361507" cy="531628"/>
          </a:xfrm>
          <a:prstGeom prst="chevron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1374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1003" y="4637562"/>
            <a:ext cx="1941546" cy="1941546"/>
          </a:xfrm>
          <a:prstGeom prst="rect">
            <a:avLst/>
          </a:prstGeom>
        </p:spPr>
      </p:pic>
      <p:sp>
        <p:nvSpPr>
          <p:cNvPr id="2" name="Пятиугольник 1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513840" y="179754"/>
            <a:ext cx="101396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Е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2501" y="1159687"/>
            <a:ext cx="1131855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тилизация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- это использование отобранного вторсырья и продуктов обезвреживания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 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ГОСТом 30772-2001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, утилизация мусора — деятельность по использованию мусора на этапах его технологического цикла, либо переработка и повторное его применение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циклинг*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— разновидность переработки отходов, связанная с повторным использованием сырья по прямому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азначению. </a:t>
            </a: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рат </a:t>
            </a: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ья, прошедшего обработку, в производственный </a:t>
            </a: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кл</a:t>
            </a: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4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иклизат</a:t>
            </a:r>
            <a:endParaRPr lang="ru-RU" sz="2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84567" y="6564500"/>
            <a:ext cx="10005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*детальное объяснение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риниципа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работы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ециклизата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на приложениях 2-6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7302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57"/>
          <a:stretch/>
        </p:blipFill>
        <p:spPr>
          <a:xfrm>
            <a:off x="714174" y="1233377"/>
            <a:ext cx="10939346" cy="4877482"/>
          </a:xfrm>
        </p:spPr>
      </p:pic>
      <p:sp>
        <p:nvSpPr>
          <p:cNvPr id="5" name="Пятиугольник 4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513840" y="179754"/>
            <a:ext cx="10139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РЕЦИКЛИНГ*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13840" y="6535311"/>
            <a:ext cx="101396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*технические и экономические аспекты детально представлены в приложениях 8-13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2358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67" name="Рисунок 5166"/>
          <p:cNvPicPr>
            <a:picLocks noChangeAspect="1"/>
          </p:cNvPicPr>
          <p:nvPr/>
        </p:nvPicPr>
        <p:blipFill rotWithShape="1">
          <a:blip r:embed="rId2"/>
          <a:srcRect l="20737" t="27965" r="24710" b="4807"/>
          <a:stretch/>
        </p:blipFill>
        <p:spPr>
          <a:xfrm>
            <a:off x="96253" y="817766"/>
            <a:ext cx="11882008" cy="5593845"/>
          </a:xfrm>
          <a:prstGeom prst="rect">
            <a:avLst/>
          </a:prstGeom>
        </p:spPr>
      </p:pic>
      <p:sp>
        <p:nvSpPr>
          <p:cNvPr id="66" name="Пятиугольник 65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311821" y="210532"/>
            <a:ext cx="10139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и </a:t>
            </a: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увеличения </a:t>
            </a: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ВРП </a:t>
            </a: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Санкт-Петербурга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083629" y="888732"/>
            <a:ext cx="2382253" cy="11309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Рецтклизат</a:t>
            </a:r>
            <a:endParaRPr lang="ru-RU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резиновая смесь)</a:t>
            </a:r>
          </a:p>
          <a:p>
            <a:pPr algn="ctr"/>
            <a:endParaRPr lang="ru-RU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268541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>
            <a:off x="0" y="152400"/>
            <a:ext cx="1158240" cy="701040"/>
          </a:xfrm>
          <a:prstGeom prst="homePlat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13840" y="220045"/>
            <a:ext cx="101396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ОЖИДАЕМЫЕ ПОКАЗАТЕЛИ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99213" y="1098082"/>
            <a:ext cx="637232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кт 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Петербург + «Горизонты возможностей»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101" y="2064120"/>
            <a:ext cx="48429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ый </a:t>
            </a:r>
            <a:r>
              <a:rPr lang="ru-RU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 решивший проблему переработки РТ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3084293"/>
            <a:ext cx="485602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ый </a:t>
            </a:r>
            <a:r>
              <a:rPr lang="ru-RU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 создавший сырьевую компанию по добыче каучукового сырья в </a:t>
            </a:r>
            <a:r>
              <a:rPr lang="ru-RU" dirty="0" smtClean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</a:t>
            </a:r>
            <a:endParaRPr lang="ru-RU" dirty="0">
              <a:solidFill>
                <a:srgbClr val="2D31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3101" y="4381465"/>
            <a:ext cx="48429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тие</a:t>
            </a:r>
            <a:r>
              <a:rPr lang="ru-RU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рерабатывающих предприятий</a:t>
            </a:r>
            <a:r>
              <a:rPr lang="ru-RU" b="1" dirty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2D312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увеличение ВРП</a:t>
            </a:r>
            <a:endParaRPr lang="ru-RU" b="1" dirty="0">
              <a:solidFill>
                <a:srgbClr val="2D31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314711" y="3364161"/>
            <a:ext cx="48772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оздание рабочих мест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314711" y="4521080"/>
            <a:ext cx="4877289" cy="367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Увеличение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НП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314711" y="5401638"/>
            <a:ext cx="48772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ерв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ешил Шинную экологическую проблему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7314711" y="2064120"/>
            <a:ext cx="48772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сполн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вух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указов президент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(Экология и БКД)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5401638"/>
            <a:ext cx="48560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зработан Российский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качественный битум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ля Качествен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орог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Соединительная линия уступом 23"/>
          <p:cNvCxnSpPr>
            <a:stCxn id="3" idx="2"/>
            <a:endCxn id="4" idx="3"/>
          </p:cNvCxnSpPr>
          <p:nvPr/>
        </p:nvCxnSpPr>
        <p:spPr>
          <a:xfrm rot="5400000">
            <a:off x="5026152" y="1328064"/>
            <a:ext cx="889094" cy="1229350"/>
          </a:xfrm>
          <a:prstGeom prst="bentConnector2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Соединительная линия уступом 24"/>
          <p:cNvCxnSpPr>
            <a:stCxn id="3" idx="2"/>
            <a:endCxn id="20" idx="1"/>
          </p:cNvCxnSpPr>
          <p:nvPr/>
        </p:nvCxnSpPr>
        <p:spPr>
          <a:xfrm rot="16200000" flipH="1">
            <a:off x="6255495" y="1328070"/>
            <a:ext cx="889094" cy="1229337"/>
          </a:xfrm>
          <a:prstGeom prst="bentConnector2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Соединительная линия уступом 27"/>
          <p:cNvCxnSpPr>
            <a:stCxn id="3" idx="2"/>
            <a:endCxn id="6" idx="3"/>
          </p:cNvCxnSpPr>
          <p:nvPr/>
        </p:nvCxnSpPr>
        <p:spPr>
          <a:xfrm rot="5400000">
            <a:off x="4446817" y="1907401"/>
            <a:ext cx="2047766" cy="1229349"/>
          </a:xfrm>
          <a:prstGeom prst="bentConnector2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Соединительная линия уступом 30"/>
          <p:cNvCxnSpPr>
            <a:stCxn id="3" idx="2"/>
            <a:endCxn id="9" idx="1"/>
          </p:cNvCxnSpPr>
          <p:nvPr/>
        </p:nvCxnSpPr>
        <p:spPr>
          <a:xfrm rot="16200000" flipH="1">
            <a:off x="5674725" y="1908840"/>
            <a:ext cx="2050635" cy="1229337"/>
          </a:xfrm>
          <a:prstGeom prst="bentConnector2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Соединительная линия уступом 33"/>
          <p:cNvCxnSpPr>
            <a:stCxn id="3" idx="2"/>
            <a:endCxn id="8" idx="3"/>
          </p:cNvCxnSpPr>
          <p:nvPr/>
        </p:nvCxnSpPr>
        <p:spPr>
          <a:xfrm rot="5400000">
            <a:off x="3867481" y="2486737"/>
            <a:ext cx="3206439" cy="1229349"/>
          </a:xfrm>
          <a:prstGeom prst="bentConnector2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ная линия уступом 36"/>
          <p:cNvCxnSpPr>
            <a:stCxn id="3" idx="2"/>
            <a:endCxn id="11" idx="1"/>
          </p:cNvCxnSpPr>
          <p:nvPr/>
        </p:nvCxnSpPr>
        <p:spPr>
          <a:xfrm rot="16200000" flipH="1">
            <a:off x="5096823" y="2486742"/>
            <a:ext cx="3206438" cy="1229337"/>
          </a:xfrm>
          <a:prstGeom prst="bentConnector2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Соединительная линия уступом 39"/>
          <p:cNvCxnSpPr>
            <a:stCxn id="3" idx="2"/>
            <a:endCxn id="22" idx="3"/>
          </p:cNvCxnSpPr>
          <p:nvPr/>
        </p:nvCxnSpPr>
        <p:spPr>
          <a:xfrm rot="5400000">
            <a:off x="3357394" y="2996824"/>
            <a:ext cx="4226612" cy="1229349"/>
          </a:xfrm>
          <a:prstGeom prst="bentConnector2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Соединительная линия уступом 42"/>
          <p:cNvCxnSpPr>
            <a:stCxn id="3" idx="2"/>
            <a:endCxn id="12" idx="1"/>
          </p:cNvCxnSpPr>
          <p:nvPr/>
        </p:nvCxnSpPr>
        <p:spPr>
          <a:xfrm rot="16200000" flipH="1">
            <a:off x="4586736" y="2996829"/>
            <a:ext cx="4226612" cy="1229337"/>
          </a:xfrm>
          <a:prstGeom prst="bentConnector2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513840" y="6535311"/>
            <a:ext cx="101396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*угрозы и риски на приложении 7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4043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WsojyJMTwc91_Qo5_j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NDMegoP9rq81z8Uctl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9hLLM_8wV_WTbFrQKu1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76</TotalTime>
  <Words>1341</Words>
  <Application>Microsoft Office PowerPoint</Application>
  <PresentationFormat>Широкоэкранный</PresentationFormat>
  <Paragraphs>243</Paragraphs>
  <Slides>2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4</vt:i4>
      </vt:variant>
    </vt:vector>
  </HeadingPairs>
  <TitlesOfParts>
    <vt:vector size="32" baseType="lpstr">
      <vt:lpstr>Arial</vt:lpstr>
      <vt:lpstr>Calibri</vt:lpstr>
      <vt:lpstr>Calibri Light</vt:lpstr>
      <vt:lpstr>Times New Roman</vt:lpstr>
      <vt:lpstr>Wingdings 3</vt:lpstr>
      <vt:lpstr>Тема Office</vt:lpstr>
      <vt:lpstr>Слайд think-cell</vt:lpstr>
      <vt:lpstr>Document</vt:lpstr>
      <vt:lpstr>Презентация PowerPoint</vt:lpstr>
      <vt:lpstr>Презентация PowerPoint</vt:lpstr>
      <vt:lpstr>ОСНОВНАЯ ПРОБЛЕМА* </vt:lpstr>
      <vt:lpstr>НЕОБХОДИМОСТЬ ПЕРЕРАБОТКИ РЕЗИНОВЫХ ИЗДЕЛИЙ</vt:lpstr>
      <vt:lpstr>ЗАДАЧИ НАШЕГО ГОРОД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БЛЕМА ДОРОГ –  РОССИИ НУЖЕН ДОРОЖНЫЙ БИТУМ</vt:lpstr>
      <vt:lpstr>Презентация PowerPoint</vt:lpstr>
      <vt:lpstr>УГРОЗЫ И РИС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асилеьв Дмитрий Кириллович</dc:creator>
  <cp:lastModifiedBy>user</cp:lastModifiedBy>
  <cp:revision>76</cp:revision>
  <dcterms:created xsi:type="dcterms:W3CDTF">2020-01-18T19:22:36Z</dcterms:created>
  <dcterms:modified xsi:type="dcterms:W3CDTF">2020-04-08T20:20:28Z</dcterms:modified>
</cp:coreProperties>
</file>